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90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412">
          <p15:clr>
            <a:srgbClr val="A4A3A4"/>
          </p15:clr>
        </p15:guide>
        <p15:guide id="4" pos="54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80"/>
    <a:srgbClr val="3399FF"/>
    <a:srgbClr val="7F7F7F"/>
    <a:srgbClr val="FFCC00"/>
    <a:srgbClr val="66CCFF"/>
    <a:srgbClr val="003382"/>
    <a:srgbClr val="333333"/>
    <a:srgbClr val="CC66FF"/>
    <a:srgbClr val="B4CC00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1506" y="114"/>
      </p:cViewPr>
      <p:guideLst>
        <p:guide orient="horz" pos="2160"/>
        <p:guide pos="2880"/>
        <p:guide pos="412"/>
        <p:guide pos="54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9" d="100"/>
        <a:sy n="89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3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3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6.jp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4176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25679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3608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5689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69924" y="3303588"/>
            <a:ext cx="7993063" cy="26996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69925" y="1516678"/>
            <a:ext cx="7993063" cy="1409648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0845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87140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69081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748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 descr="RetroMKTGstatement4x3New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3" y="0"/>
            <a:ext cx="9160933" cy="68707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96695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73889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9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March 2020</a:t>
            </a:fld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3" descr="SidelLogoRGB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5" name="MSIPCMContentMarking" descr="{&quot;HashCode&quot;:238713050,&quot;Placement&quot;:&quot;Footer&quot;}"/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90" r:id="rId5"/>
    <p:sldLayoutId id="2147483674" r:id="rId6"/>
    <p:sldLayoutId id="2147483667" r:id="rId7"/>
    <p:sldLayoutId id="2147483691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">
            <a:extLst>
              <a:ext uri="{FF2B5EF4-FFF2-40B4-BE49-F238E27FC236}">
                <a16:creationId xmlns:a16="http://schemas.microsoft.com/office/drawing/2014/main" id="{4D65BEA0-BD33-469C-AEF2-A167FF7775AA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706124"/>
            <a:ext cx="7991475" cy="4113468"/>
            <a:chOff x="650875" y="1906363"/>
            <a:chExt cx="7991475" cy="4042393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30C176BE-257C-437A-9CC2-5F64ADE44EF0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NUTZEN UND VORTEILE</a:t>
              </a: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98313B17-25C4-47EC-97A0-D5EA4A6938EA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3ED9B037-3867-41DD-AB47-8565E5B4FBF2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BESCHREIBUNG</a:t>
              </a: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21BDC0ED-658F-47F0-BF67-1543B64981FB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/>
              <a:t>Energieeinsparungen durch Vakuumpumpe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040" y="1395330"/>
            <a:ext cx="7997825" cy="307975"/>
          </a:xfrm>
        </p:spPr>
        <p:txBody>
          <a:bodyPr/>
          <a:lstStyle/>
          <a:p>
            <a:r>
              <a:rPr lang="de-DE"/>
              <a:t>Ersetzt das Venturisystem durch neue Vakuumpumpe.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800"/>
              <a:t>Nutzen: Kostenoptimierung, Nachhaltigkeit</a:t>
            </a:r>
          </a:p>
          <a:p>
            <a:r>
              <a:rPr lang="de-DE" sz="800"/>
              <a:t>Ausstattung: Packing Corcelles</a:t>
            </a:r>
          </a:p>
          <a:p>
            <a:r>
              <a:rPr lang="de-DE" sz="800"/>
              <a:t>Katalog-Code: CLC-01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6452" y="2094120"/>
            <a:ext cx="38909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de-DE" sz="1200" b="1" dirty="0"/>
              <a:t>Einsparungen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/>
              <a:t>Reduziert den Druckluft- und Energieverbrauch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Nach 2 Jahren: Einsparung 1.450 €/Jahr vs. </a:t>
            </a:r>
            <a:r>
              <a:rPr lang="de-DE" sz="1200" dirty="0" err="1"/>
              <a:t>Venturilösung</a:t>
            </a:r>
            <a:endParaRPr lang="de-DE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70140" y="2116354"/>
            <a:ext cx="382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/>
              <a:t>Alle Maschinen mit Venturi, Typ SB37 oder andere Typen (Anz. der Pumpen je nach Maschinengeschwindigkeit)</a:t>
            </a:r>
          </a:p>
        </p:txBody>
      </p:sp>
      <p:sp>
        <p:nvSpPr>
          <p:cNvPr id="18" name="Rechteck 13">
            <a:extLst>
              <a:ext uri="{FF2B5EF4-FFF2-40B4-BE49-F238E27FC236}">
                <a16:creationId xmlns:a16="http://schemas.microsoft.com/office/drawing/2014/main" id="{E1CCA77F-D1E4-47D1-B633-D8475FD179AE}"/>
              </a:ext>
            </a:extLst>
          </p:cNvPr>
          <p:cNvSpPr/>
          <p:nvPr/>
        </p:nvSpPr>
        <p:spPr bwMode="gray">
          <a:xfrm>
            <a:off x="5009985" y="3379754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de-DE" sz="1200" b="1">
                <a:solidFill>
                  <a:srgbClr val="FFFFFF"/>
                </a:solidFill>
                <a:ea typeface="MS PGothic" pitchFamily="34" charset="-128"/>
              </a:rPr>
              <a:t>Vorher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4EA5462B-0910-44FC-8FE0-7C4642E80D4B}"/>
              </a:ext>
            </a:extLst>
          </p:cNvPr>
          <p:cNvSpPr/>
          <p:nvPr/>
        </p:nvSpPr>
        <p:spPr bwMode="gray">
          <a:xfrm>
            <a:off x="703569" y="3379754"/>
            <a:ext cx="881949" cy="218005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de-DE" sz="1200" b="1">
                <a:solidFill>
                  <a:srgbClr val="FFFFFF"/>
                </a:solidFill>
                <a:ea typeface="MS PGothic" pitchFamily="34" charset="-128"/>
              </a:rPr>
              <a:t>Nachher</a:t>
            </a: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668" y="3689515"/>
            <a:ext cx="1599463" cy="1960471"/>
          </a:xfrm>
          <a:prstGeom prst="rect">
            <a:avLst/>
          </a:prstGeom>
        </p:spPr>
      </p:pic>
      <p:pic>
        <p:nvPicPr>
          <p:cNvPr id="10" name="Immagin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4520" y="3625516"/>
            <a:ext cx="2590812" cy="1760053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6325" y="4119497"/>
            <a:ext cx="1791237" cy="1548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636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5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70ED1CB-B36D-479B-B6E4-F507CFBB185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C01E06B-6331-46D4-94C1-5E9BE831DC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9573021-A926-4FB7-AC72-36E5729B85FF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4x3_SHORT</Template>
  <TotalTime>0</TotalTime>
  <Words>65</Words>
  <Application>Microsoft Office PowerPoint</Application>
  <PresentationFormat>Affichage à l'écran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NewSidel_Template_4x3_with add layouts</vt:lpstr>
      <vt:lpstr>think-cell Folie</vt:lpstr>
      <vt:lpstr>Energieeinsparungen durch Vakuumpumpe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ace your obsolete display panel</dc:title>
  <dc:creator>Pomo, Claudio</dc:creator>
  <cp:lastModifiedBy>Chantal BONO | Studia Ingénierie</cp:lastModifiedBy>
  <cp:revision>13</cp:revision>
  <dcterms:created xsi:type="dcterms:W3CDTF">2020-01-31T15:25:02Z</dcterms:created>
  <dcterms:modified xsi:type="dcterms:W3CDTF">2020-03-16T12:1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Claudio.Pomo@gebocermex.com</vt:lpwstr>
  </property>
  <property fmtid="{D5CDD505-2E9C-101B-9397-08002B2CF9AE}" pid="7" name="MSIP_Label_94480757-a570-4f64-84e7-c5b3ffe9d573_SetDate">
    <vt:lpwstr>2020-01-31T15:25:14.8361534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ContentTypeId">
    <vt:lpwstr>0x01010048C1934A45FF5D4B8D5F4B18333E543F</vt:lpwstr>
  </property>
</Properties>
</file>